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256" r:id="rId5"/>
    <p:sldId id="258" r:id="rId6"/>
    <p:sldId id="263" r:id="rId7"/>
    <p:sldId id="259" r:id="rId8"/>
    <p:sldId id="264" r:id="rId9"/>
    <p:sldId id="265" r:id="rId10"/>
    <p:sldId id="257" r:id="rId11"/>
  </p:sldIdLst>
  <p:sldSz cx="12192000" cy="6858000"/>
  <p:notesSz cx="6761163" cy="9856788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holl Andrea Marie (AE/EMC)" initials="SAM(" lastIdx="4" clrIdx="0">
    <p:extLst>
      <p:ext uri="{19B8F6BF-5375-455C-9EA6-DF929625EA0E}">
        <p15:presenceInfo xmlns:p15="http://schemas.microsoft.com/office/powerpoint/2012/main" userId="S::sno2bue@bosch.com::942fed88-17a4-4a27-ba2b-8b42900e827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00FF"/>
    <a:srgbClr val="D1E4FF"/>
    <a:srgbClr val="0033CC"/>
    <a:srgbClr val="00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33ED78-D5CE-47AA-8123-C7D0CD010E46}" v="27" dt="2026-03-13T14:53:50.76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737" autoAdjust="0"/>
  </p:normalViewPr>
  <p:slideViewPr>
    <p:cSldViewPr>
      <p:cViewPr varScale="1">
        <p:scale>
          <a:sx n="90" d="100"/>
          <a:sy n="90" d="100"/>
        </p:scale>
        <p:origin x="355" y="6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99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ierstorfer Andreas, EL-443" userId="94b21450-a1fc-4334-bcab-8a1ae62433bb" providerId="ADAL" clId="{5FFFB196-52B1-4EA5-8498-D382B6448403}"/>
    <pc:docChg chg="undo custSel addSld delSld modSld sldOrd">
      <pc:chgData name="Gierstorfer Andreas, EL-443" userId="94b21450-a1fc-4334-bcab-8a1ae62433bb" providerId="ADAL" clId="{5FFFB196-52B1-4EA5-8498-D382B6448403}" dt="2026-03-13T14:54:36.829" v="929" actId="20577"/>
      <pc:docMkLst>
        <pc:docMk/>
      </pc:docMkLst>
      <pc:sldChg chg="addSp delSp modSp mod">
        <pc:chgData name="Gierstorfer Andreas, EL-443" userId="94b21450-a1fc-4334-bcab-8a1ae62433bb" providerId="ADAL" clId="{5FFFB196-52B1-4EA5-8498-D382B6448403}" dt="2026-03-13T14:48:51.077" v="852"/>
        <pc:sldMkLst>
          <pc:docMk/>
          <pc:sldMk cId="3559399008" sldId="257"/>
        </pc:sldMkLst>
        <pc:spChg chg="del mod">
          <ac:chgData name="Gierstorfer Andreas, EL-443" userId="94b21450-a1fc-4334-bcab-8a1ae62433bb" providerId="ADAL" clId="{5FFFB196-52B1-4EA5-8498-D382B6448403}" dt="2026-03-13T14:48:08.477" v="830" actId="478"/>
          <ac:spMkLst>
            <pc:docMk/>
            <pc:sldMk cId="3559399008" sldId="257"/>
            <ac:spMk id="5" creationId="{7E2569C2-185E-D8E6-EFDF-21A71FC70982}"/>
          </ac:spMkLst>
        </pc:spChg>
        <pc:spChg chg="del mod">
          <ac:chgData name="Gierstorfer Andreas, EL-443" userId="94b21450-a1fc-4334-bcab-8a1ae62433bb" providerId="ADAL" clId="{5FFFB196-52B1-4EA5-8498-D382B6448403}" dt="2026-03-13T14:48:51.077" v="852"/>
          <ac:spMkLst>
            <pc:docMk/>
            <pc:sldMk cId="3559399008" sldId="257"/>
            <ac:spMk id="9" creationId="{FBFB2377-4190-6E9D-A22C-97D935791A1D}"/>
          </ac:spMkLst>
        </pc:spChg>
        <pc:spChg chg="add mod">
          <ac:chgData name="Gierstorfer Andreas, EL-443" userId="94b21450-a1fc-4334-bcab-8a1ae62433bb" providerId="ADAL" clId="{5FFFB196-52B1-4EA5-8498-D382B6448403}" dt="2026-03-13T14:48:50.411" v="850" actId="1076"/>
          <ac:spMkLst>
            <pc:docMk/>
            <pc:sldMk cId="3559399008" sldId="257"/>
            <ac:spMk id="11" creationId="{24D832CE-2867-606A-3191-BF2B660CAF82}"/>
          </ac:spMkLst>
        </pc:spChg>
      </pc:sldChg>
      <pc:sldChg chg="modSp mod">
        <pc:chgData name="Gierstorfer Andreas, EL-443" userId="94b21450-a1fc-4334-bcab-8a1ae62433bb" providerId="ADAL" clId="{5FFFB196-52B1-4EA5-8498-D382B6448403}" dt="2026-03-13T14:18:44.742" v="204" actId="20577"/>
        <pc:sldMkLst>
          <pc:docMk/>
          <pc:sldMk cId="1428005647" sldId="258"/>
        </pc:sldMkLst>
        <pc:spChg chg="mod">
          <ac:chgData name="Gierstorfer Andreas, EL-443" userId="94b21450-a1fc-4334-bcab-8a1ae62433bb" providerId="ADAL" clId="{5FFFB196-52B1-4EA5-8498-D382B6448403}" dt="2026-03-12T06:09:35.509" v="15" actId="20577"/>
          <ac:spMkLst>
            <pc:docMk/>
            <pc:sldMk cId="1428005647" sldId="258"/>
            <ac:spMk id="2" creationId="{B9B5DDB1-3467-85F1-E169-17236F6F030F}"/>
          </ac:spMkLst>
        </pc:spChg>
        <pc:spChg chg="mod">
          <ac:chgData name="Gierstorfer Andreas, EL-443" userId="94b21450-a1fc-4334-bcab-8a1ae62433bb" providerId="ADAL" clId="{5FFFB196-52B1-4EA5-8498-D382B6448403}" dt="2026-03-13T14:18:44.742" v="204" actId="20577"/>
          <ac:spMkLst>
            <pc:docMk/>
            <pc:sldMk cId="1428005647" sldId="258"/>
            <ac:spMk id="5" creationId="{F181B3BD-A8A7-9DF7-E821-99ABCD49EE19}"/>
          </ac:spMkLst>
        </pc:spChg>
        <pc:spChg chg="mod">
          <ac:chgData name="Gierstorfer Andreas, EL-443" userId="94b21450-a1fc-4334-bcab-8a1ae62433bb" providerId="ADAL" clId="{5FFFB196-52B1-4EA5-8498-D382B6448403}" dt="2026-03-13T14:17:39.700" v="180" actId="21"/>
          <ac:spMkLst>
            <pc:docMk/>
            <pc:sldMk cId="1428005647" sldId="258"/>
            <ac:spMk id="6" creationId="{984C288D-DFEC-3F66-3C10-182D4777ED8D}"/>
          </ac:spMkLst>
        </pc:spChg>
      </pc:sldChg>
      <pc:sldChg chg="addSp modSp mod">
        <pc:chgData name="Gierstorfer Andreas, EL-443" userId="94b21450-a1fc-4334-bcab-8a1ae62433bb" providerId="ADAL" clId="{5FFFB196-52B1-4EA5-8498-D382B6448403}" dt="2026-03-13T14:45:11.416" v="685" actId="20577"/>
        <pc:sldMkLst>
          <pc:docMk/>
          <pc:sldMk cId="3946007519" sldId="259"/>
        </pc:sldMkLst>
        <pc:spChg chg="mod">
          <ac:chgData name="Gierstorfer Andreas, EL-443" userId="94b21450-a1fc-4334-bcab-8a1ae62433bb" providerId="ADAL" clId="{5FFFB196-52B1-4EA5-8498-D382B6448403}" dt="2026-03-13T14:33:14.810" v="545" actId="20577"/>
          <ac:spMkLst>
            <pc:docMk/>
            <pc:sldMk cId="3946007519" sldId="259"/>
            <ac:spMk id="2" creationId="{FD787D8A-884F-49E9-6F77-D6D51FC834C5}"/>
          </ac:spMkLst>
        </pc:spChg>
        <pc:spChg chg="mod">
          <ac:chgData name="Gierstorfer Andreas, EL-443" userId="94b21450-a1fc-4334-bcab-8a1ae62433bb" providerId="ADAL" clId="{5FFFB196-52B1-4EA5-8498-D382B6448403}" dt="2026-03-13T14:45:11.416" v="685" actId="20577"/>
          <ac:spMkLst>
            <pc:docMk/>
            <pc:sldMk cId="3946007519" sldId="259"/>
            <ac:spMk id="5" creationId="{A1311C69-7147-858E-69F9-64E4F9A8B973}"/>
          </ac:spMkLst>
        </pc:spChg>
        <pc:spChg chg="mod">
          <ac:chgData name="Gierstorfer Andreas, EL-443" userId="94b21450-a1fc-4334-bcab-8a1ae62433bb" providerId="ADAL" clId="{5FFFB196-52B1-4EA5-8498-D382B6448403}" dt="2026-03-13T14:21:36.463" v="209" actId="21"/>
          <ac:spMkLst>
            <pc:docMk/>
            <pc:sldMk cId="3946007519" sldId="259"/>
            <ac:spMk id="6" creationId="{6699E34D-D90B-8AFF-B77D-FF0AEEDBDFAD}"/>
          </ac:spMkLst>
        </pc:spChg>
        <pc:graphicFrameChg chg="add mod">
          <ac:chgData name="Gierstorfer Andreas, EL-443" userId="94b21450-a1fc-4334-bcab-8a1ae62433bb" providerId="ADAL" clId="{5FFFB196-52B1-4EA5-8498-D382B6448403}" dt="2026-03-13T14:25:01.461" v="260"/>
          <ac:graphicFrameMkLst>
            <pc:docMk/>
            <pc:sldMk cId="3946007519" sldId="259"/>
            <ac:graphicFrameMk id="3" creationId="{E3BF3CC0-4378-EEC0-A23B-D49045FEBFCC}"/>
          </ac:graphicFrameMkLst>
        </pc:graphicFrameChg>
        <pc:graphicFrameChg chg="add mod">
          <ac:chgData name="Gierstorfer Andreas, EL-443" userId="94b21450-a1fc-4334-bcab-8a1ae62433bb" providerId="ADAL" clId="{5FFFB196-52B1-4EA5-8498-D382B6448403}" dt="2026-03-13T14:25:12.437" v="261"/>
          <ac:graphicFrameMkLst>
            <pc:docMk/>
            <pc:sldMk cId="3946007519" sldId="259"/>
            <ac:graphicFrameMk id="7" creationId="{8487EF18-21BF-324D-520C-01D11F6207BB}"/>
          </ac:graphicFrameMkLst>
        </pc:graphicFrameChg>
        <pc:graphicFrameChg chg="add mod">
          <ac:chgData name="Gierstorfer Andreas, EL-443" userId="94b21450-a1fc-4334-bcab-8a1ae62433bb" providerId="ADAL" clId="{5FFFB196-52B1-4EA5-8498-D382B6448403}" dt="2026-03-13T14:26:52.945" v="287"/>
          <ac:graphicFrameMkLst>
            <pc:docMk/>
            <pc:sldMk cId="3946007519" sldId="259"/>
            <ac:graphicFrameMk id="8" creationId="{699BB6B3-BA7A-CAC0-B293-A47E2E7382F9}"/>
          </ac:graphicFrameMkLst>
        </pc:graphicFrameChg>
        <pc:graphicFrameChg chg="add mod">
          <ac:chgData name="Gierstorfer Andreas, EL-443" userId="94b21450-a1fc-4334-bcab-8a1ae62433bb" providerId="ADAL" clId="{5FFFB196-52B1-4EA5-8498-D382B6448403}" dt="2026-03-13T14:26:55.878" v="289"/>
          <ac:graphicFrameMkLst>
            <pc:docMk/>
            <pc:sldMk cId="3946007519" sldId="259"/>
            <ac:graphicFrameMk id="9" creationId="{B6AD8C3D-3E34-FE1B-4FB4-2B1A42219F33}"/>
          </ac:graphicFrameMkLst>
        </pc:graphicFrameChg>
      </pc:sldChg>
      <pc:sldChg chg="modSp del mod">
        <pc:chgData name="Gierstorfer Andreas, EL-443" userId="94b21450-a1fc-4334-bcab-8a1ae62433bb" providerId="ADAL" clId="{5FFFB196-52B1-4EA5-8498-D382B6448403}" dt="2026-03-13T14:44:01.009" v="630" actId="47"/>
        <pc:sldMkLst>
          <pc:docMk/>
          <pc:sldMk cId="748498660" sldId="260"/>
        </pc:sldMkLst>
        <pc:spChg chg="mod">
          <ac:chgData name="Gierstorfer Andreas, EL-443" userId="94b21450-a1fc-4334-bcab-8a1ae62433bb" providerId="ADAL" clId="{5FFFB196-52B1-4EA5-8498-D382B6448403}" dt="2026-03-13T14:42:51.392" v="607" actId="20577"/>
          <ac:spMkLst>
            <pc:docMk/>
            <pc:sldMk cId="748498660" sldId="260"/>
            <ac:spMk id="5" creationId="{6AFA53D8-F882-D30D-D405-DF8EDBA55904}"/>
          </ac:spMkLst>
        </pc:spChg>
        <pc:spChg chg="mod">
          <ac:chgData name="Gierstorfer Andreas, EL-443" userId="94b21450-a1fc-4334-bcab-8a1ae62433bb" providerId="ADAL" clId="{5FFFB196-52B1-4EA5-8498-D382B6448403}" dt="2026-03-13T14:42:58.885" v="609" actId="21"/>
          <ac:spMkLst>
            <pc:docMk/>
            <pc:sldMk cId="748498660" sldId="260"/>
            <ac:spMk id="6" creationId="{B5160809-00B8-2A1B-0CB0-A9FE7F33C444}"/>
          </ac:spMkLst>
        </pc:spChg>
      </pc:sldChg>
      <pc:sldChg chg="modSp del mod ord">
        <pc:chgData name="Gierstorfer Andreas, EL-443" userId="94b21450-a1fc-4334-bcab-8a1ae62433bb" providerId="ADAL" clId="{5FFFB196-52B1-4EA5-8498-D382B6448403}" dt="2026-03-13T14:29:32.193" v="458" actId="47"/>
        <pc:sldMkLst>
          <pc:docMk/>
          <pc:sldMk cId="2287694205" sldId="261"/>
        </pc:sldMkLst>
        <pc:spChg chg="mod">
          <ac:chgData name="Gierstorfer Andreas, EL-443" userId="94b21450-a1fc-4334-bcab-8a1ae62433bb" providerId="ADAL" clId="{5FFFB196-52B1-4EA5-8498-D382B6448403}" dt="2026-03-13T14:21:46.412" v="212" actId="21"/>
          <ac:spMkLst>
            <pc:docMk/>
            <pc:sldMk cId="2287694205" sldId="261"/>
            <ac:spMk id="3" creationId="{6D46D3C5-7687-C7C9-BBB0-BDBCEF8F631E}"/>
          </ac:spMkLst>
        </pc:spChg>
      </pc:sldChg>
      <pc:sldChg chg="modSp del mod">
        <pc:chgData name="Gierstorfer Andreas, EL-443" userId="94b21450-a1fc-4334-bcab-8a1ae62433bb" providerId="ADAL" clId="{5FFFB196-52B1-4EA5-8498-D382B6448403}" dt="2026-03-13T14:44:41.534" v="676" actId="47"/>
        <pc:sldMkLst>
          <pc:docMk/>
          <pc:sldMk cId="1238185018" sldId="262"/>
        </pc:sldMkLst>
        <pc:spChg chg="mod">
          <ac:chgData name="Gierstorfer Andreas, EL-443" userId="94b21450-a1fc-4334-bcab-8a1ae62433bb" providerId="ADAL" clId="{5FFFB196-52B1-4EA5-8498-D382B6448403}" dt="2026-03-13T14:44:33.328" v="673" actId="27636"/>
          <ac:spMkLst>
            <pc:docMk/>
            <pc:sldMk cId="1238185018" sldId="262"/>
            <ac:spMk id="4" creationId="{ECBFAA31-AC2E-3679-96BC-D1FF3D33278D}"/>
          </ac:spMkLst>
        </pc:spChg>
      </pc:sldChg>
      <pc:sldChg chg="delSp modSp new mod">
        <pc:chgData name="Gierstorfer Andreas, EL-443" userId="94b21450-a1fc-4334-bcab-8a1ae62433bb" providerId="ADAL" clId="{5FFFB196-52B1-4EA5-8498-D382B6448403}" dt="2026-03-12T06:12:23.016" v="137" actId="255"/>
        <pc:sldMkLst>
          <pc:docMk/>
          <pc:sldMk cId="2076774644" sldId="263"/>
        </pc:sldMkLst>
        <pc:spChg chg="del mod">
          <ac:chgData name="Gierstorfer Andreas, EL-443" userId="94b21450-a1fc-4334-bcab-8a1ae62433bb" providerId="ADAL" clId="{5FFFB196-52B1-4EA5-8498-D382B6448403}" dt="2026-03-12T06:10:01.389" v="33" actId="478"/>
          <ac:spMkLst>
            <pc:docMk/>
            <pc:sldMk cId="2076774644" sldId="263"/>
            <ac:spMk id="2" creationId="{3CF89AB1-29C5-DA4D-DD7A-D4DB2A29D5D1}"/>
          </ac:spMkLst>
        </pc:spChg>
        <pc:spChg chg="mod">
          <ac:chgData name="Gierstorfer Andreas, EL-443" userId="94b21450-a1fc-4334-bcab-8a1ae62433bb" providerId="ADAL" clId="{5FFFB196-52B1-4EA5-8498-D382B6448403}" dt="2026-03-12T06:12:23.016" v="137" actId="255"/>
          <ac:spMkLst>
            <pc:docMk/>
            <pc:sldMk cId="2076774644" sldId="263"/>
            <ac:spMk id="3" creationId="{EBA98C8E-9F64-6C70-DA82-9D71CF5A1A53}"/>
          </ac:spMkLst>
        </pc:spChg>
      </pc:sldChg>
      <pc:sldChg chg="new del">
        <pc:chgData name="Gierstorfer Andreas, EL-443" userId="94b21450-a1fc-4334-bcab-8a1ae62433bb" providerId="ADAL" clId="{5FFFB196-52B1-4EA5-8498-D382B6448403}" dt="2026-03-12T06:11:03.075" v="72" actId="47"/>
        <pc:sldMkLst>
          <pc:docMk/>
          <pc:sldMk cId="2419542325" sldId="264"/>
        </pc:sldMkLst>
      </pc:sldChg>
      <pc:sldChg chg="modSp add mod ord">
        <pc:chgData name="Gierstorfer Andreas, EL-443" userId="94b21450-a1fc-4334-bcab-8a1ae62433bb" providerId="ADAL" clId="{5FFFB196-52B1-4EA5-8498-D382B6448403}" dt="2026-03-12T06:13:36.818" v="162"/>
        <pc:sldMkLst>
          <pc:docMk/>
          <pc:sldMk cId="2834216036" sldId="264"/>
        </pc:sldMkLst>
        <pc:spChg chg="mod">
          <ac:chgData name="Gierstorfer Andreas, EL-443" userId="94b21450-a1fc-4334-bcab-8a1ae62433bb" providerId="ADAL" clId="{5FFFB196-52B1-4EA5-8498-D382B6448403}" dt="2026-03-12T06:13:20.129" v="160" actId="20577"/>
          <ac:spMkLst>
            <pc:docMk/>
            <pc:sldMk cId="2834216036" sldId="264"/>
            <ac:spMk id="3" creationId="{B964F4E8-0219-9408-7926-92440A01126C}"/>
          </ac:spMkLst>
        </pc:spChg>
      </pc:sldChg>
      <pc:sldChg chg="modSp add mod ord">
        <pc:chgData name="Gierstorfer Andreas, EL-443" userId="94b21450-a1fc-4334-bcab-8a1ae62433bb" providerId="ADAL" clId="{5FFFB196-52B1-4EA5-8498-D382B6448403}" dt="2026-03-13T14:54:36.829" v="929" actId="20577"/>
        <pc:sldMkLst>
          <pc:docMk/>
          <pc:sldMk cId="1020083533" sldId="265"/>
        </pc:sldMkLst>
        <pc:spChg chg="mod">
          <ac:chgData name="Gierstorfer Andreas, EL-443" userId="94b21450-a1fc-4334-bcab-8a1ae62433bb" providerId="ADAL" clId="{5FFFB196-52B1-4EA5-8498-D382B6448403}" dt="2026-03-13T14:36:32.657" v="555" actId="20577"/>
          <ac:spMkLst>
            <pc:docMk/>
            <pc:sldMk cId="1020083533" sldId="265"/>
            <ac:spMk id="2" creationId="{B4A5D482-C86F-C1CB-2357-13AC6E2A6031}"/>
          </ac:spMkLst>
        </pc:spChg>
        <pc:spChg chg="mod">
          <ac:chgData name="Gierstorfer Andreas, EL-443" userId="94b21450-a1fc-4334-bcab-8a1ae62433bb" providerId="ADAL" clId="{5FFFB196-52B1-4EA5-8498-D382B6448403}" dt="2026-03-13T14:54:36.829" v="929" actId="20577"/>
          <ac:spMkLst>
            <pc:docMk/>
            <pc:sldMk cId="1020083533" sldId="265"/>
            <ac:spMk id="5" creationId="{67B97F10-493B-1AD8-DB27-18A308C1E5F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0B55DF59-0F53-4050-AF5E-93585945D4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F9FE615-1A8E-46A9-928A-77BADCFDED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29050" y="0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4D0299-3734-408F-BE89-7B5D604F3AE9}" type="datetimeFigureOut">
              <a:rPr lang="fr-FR" smtClean="0"/>
              <a:t>16/03/2026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4F20359-3716-4F65-9039-AF43318B20E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63075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8B55E68-307C-4842-94B4-6ED33D51A79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29050" y="9363075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6FC91E-EDAE-45FA-B21E-72AE395D1EE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46343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8938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t" anchorCtr="0" compatLnSpc="1">
            <a:prstTxWarp prst="textNoShape">
              <a:avLst/>
            </a:prstTxWarp>
          </a:bodyPr>
          <a:lstStyle>
            <a:lvl1pPr defTabSz="919163">
              <a:defRPr sz="1200"/>
            </a:lvl1pPr>
          </a:lstStyle>
          <a:p>
            <a:endParaRPr lang="fr-FR" altLang="ja-JP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30638" y="0"/>
            <a:ext cx="2928937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t" anchorCtr="0" compatLnSpc="1">
            <a:prstTxWarp prst="textNoShape">
              <a:avLst/>
            </a:prstTxWarp>
          </a:bodyPr>
          <a:lstStyle>
            <a:lvl1pPr algn="r" defTabSz="919163">
              <a:defRPr sz="1200"/>
            </a:lvl1pPr>
          </a:lstStyle>
          <a:p>
            <a:endParaRPr lang="fr-FR" altLang="ja-JP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6838" y="739775"/>
            <a:ext cx="6569075" cy="3695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97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6275" y="4681538"/>
            <a:ext cx="5408613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ja-JP"/>
              <a:t>Cliquez pour modifier les styles du texte du masque</a:t>
            </a:r>
          </a:p>
          <a:p>
            <a:pPr lvl="1"/>
            <a:r>
              <a:rPr lang="fr-FR" altLang="ja-JP"/>
              <a:t>Deuxième niveau</a:t>
            </a:r>
          </a:p>
          <a:p>
            <a:pPr lvl="2"/>
            <a:r>
              <a:rPr lang="fr-FR" altLang="ja-JP"/>
              <a:t>Troisième niveau</a:t>
            </a:r>
          </a:p>
          <a:p>
            <a:pPr lvl="3"/>
            <a:r>
              <a:rPr lang="fr-FR" altLang="ja-JP"/>
              <a:t>Quatrième niveau</a:t>
            </a:r>
          </a:p>
          <a:p>
            <a:pPr lvl="4"/>
            <a:r>
              <a:rPr lang="fr-FR" altLang="ja-JP"/>
              <a:t>Cinquième niveau</a:t>
            </a:r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1488"/>
            <a:ext cx="2928938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b" anchorCtr="0" compatLnSpc="1">
            <a:prstTxWarp prst="textNoShape">
              <a:avLst/>
            </a:prstTxWarp>
          </a:bodyPr>
          <a:lstStyle>
            <a:lvl1pPr defTabSz="919163">
              <a:defRPr sz="1200"/>
            </a:lvl1pPr>
          </a:lstStyle>
          <a:p>
            <a:endParaRPr lang="fr-FR" altLang="ja-JP"/>
          </a:p>
        </p:txBody>
      </p:sp>
      <p:sp>
        <p:nvSpPr>
          <p:cNvPr id="297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30638" y="9361488"/>
            <a:ext cx="2928937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b" anchorCtr="0" compatLnSpc="1">
            <a:prstTxWarp prst="textNoShape">
              <a:avLst/>
            </a:prstTxWarp>
          </a:bodyPr>
          <a:lstStyle>
            <a:lvl1pPr algn="r" defTabSz="919163">
              <a:defRPr sz="1200"/>
            </a:lvl1pPr>
          </a:lstStyle>
          <a:p>
            <a:fld id="{41FE2CFF-C77F-45F5-8196-7FFE9E57B434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FE2CFF-C77F-45F5-8196-7FFE9E57B434}" type="slidenum">
              <a:rPr lang="ja-JP" altLang="fr-FR" smtClean="0"/>
              <a:pPr/>
              <a:t>1</a:t>
            </a:fld>
            <a:endParaRPr lang="fr-FR" altLang="ja-JP"/>
          </a:p>
        </p:txBody>
      </p:sp>
    </p:spTree>
    <p:extLst>
      <p:ext uri="{BB962C8B-B14F-4D97-AF65-F5344CB8AC3E}">
        <p14:creationId xmlns:p14="http://schemas.microsoft.com/office/powerpoint/2010/main" val="3742118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810C45F-D7AC-40B8-B361-5609B0B61D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616" y="128212"/>
            <a:ext cx="1512168" cy="12306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76E22B0-3A17-45B7-AF4B-28357ACE90C3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4D32B0-8A42-44E7-9B4D-3C2296BFBD2E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49395" y="837312"/>
            <a:ext cx="8857153" cy="431900"/>
          </a:xfrm>
        </p:spPr>
        <p:txBody>
          <a:bodyPr tIns="36000">
            <a:noAutofit/>
          </a:bodyPr>
          <a:lstStyle>
            <a:lvl1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1pPr>
            <a:lvl2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2pPr>
            <a:lvl3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3pPr>
            <a:lvl4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4pPr>
            <a:lvl5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5pPr>
            <a:lvl6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6pPr>
            <a:lvl7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7pPr>
            <a:lvl8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8pPr>
            <a:lvl9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14217"/>
            <a:fld id="{6737C4E7-2F7A-4C40-8110-7D13CF9BE4FF}" type="slidenum">
              <a:rPr lang="de-DE" smtClean="0"/>
              <a:pPr defTabSz="914217"/>
              <a:t>‹N°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06280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4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9307496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742950" indent="-28575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Calibri" panose="020F0502020204030204" pitchFamily="34" charset="0"/>
              <a:buChar char="−"/>
              <a:defRPr/>
            </a:lvl3pPr>
            <a:lvl4pPr marL="1600200" indent="-228600">
              <a:buFont typeface="Courier New" panose="02070309020205020404" pitchFamily="49" charset="0"/>
              <a:buChar char="o"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4A5D464-134C-4C80-B41F-7081051DEBC1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D7F56F4-53F4-4744-8FEF-840AE151320B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DCAE38-802C-4BCD-8E23-F653FABC34F1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CF7609-A126-430D-864C-5251E8DC0566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C2F580-C48E-4C14-8111-BE255E1134ED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9A974D-1DC4-4C29-960C-4F23E42A2DA2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050A2B-ED20-46DB-805A-96BB748EB760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7F7C1A6-5432-4A88-9199-948E52B80477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chemeClr val="bg1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ja-JP" dirty="0"/>
              <a:t>Cliquez pour modifier les styles du texte du masque</a:t>
            </a:r>
          </a:p>
          <a:p>
            <a:pPr lvl="1"/>
            <a:r>
              <a:rPr lang="fr-FR" altLang="ja-JP" dirty="0"/>
              <a:t>Deuxième niveau</a:t>
            </a:r>
          </a:p>
          <a:p>
            <a:pPr lvl="2"/>
            <a:r>
              <a:rPr lang="fr-FR" altLang="ja-JP" dirty="0"/>
              <a:t>Troisième niveau</a:t>
            </a:r>
          </a:p>
          <a:p>
            <a:pPr lvl="3"/>
            <a:r>
              <a:rPr lang="fr-FR" altLang="ja-JP" dirty="0"/>
              <a:t>Quatrième niveau</a:t>
            </a:r>
          </a:p>
          <a:p>
            <a:pPr lvl="4"/>
            <a:r>
              <a:rPr lang="fr-FR" altLang="ja-JP" dirty="0"/>
              <a:t>Cinquième niveau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ea typeface="ＭＳ Ｐゴシック" pitchFamily="34" charset="-128"/>
              </a:defRPr>
            </a:lvl1pPr>
          </a:lstStyle>
          <a:p>
            <a:endParaRPr lang="fr-FR" altLang="ja-JP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34" charset="-128"/>
              </a:defRPr>
            </a:lvl1pPr>
          </a:lstStyle>
          <a:p>
            <a:endParaRPr lang="fr-FR" altLang="ja-JP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34" charset="-128"/>
              </a:defRPr>
            </a:lvl1pPr>
          </a:lstStyle>
          <a:p>
            <a:fld id="{841ADF96-E6CA-4184-9617-4AA0842E2F41}" type="slidenum">
              <a:rPr lang="ja-JP" altLang="fr-FR"/>
              <a:pPr/>
              <a:t>‹N°›</a:t>
            </a:fld>
            <a:endParaRPr lang="fr-FR" altLang="ja-JP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CB5CF22-54B9-40F4-91F9-FB0988E0596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79512" y="20335"/>
            <a:ext cx="884497" cy="14047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Char char="−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8F769BD-C4D9-4075-94C1-E71E3F73A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6936A-3B21-4CDC-83DE-B97ED3CCFAB5}" type="slidenum">
              <a:rPr lang="fr-FR" altLang="ja-JP" smtClean="0"/>
              <a:t>1</a:t>
            </a:fld>
            <a:endParaRPr lang="fr-FR" altLang="ja-JP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B148632B-F642-3460-7FF1-C15D14846F95}"/>
              </a:ext>
            </a:extLst>
          </p:cNvPr>
          <p:cNvSpPr txBox="1">
            <a:spLocks/>
          </p:cNvSpPr>
          <p:nvPr/>
        </p:nvSpPr>
        <p:spPr>
          <a:xfrm>
            <a:off x="776288" y="1600200"/>
            <a:ext cx="10639424" cy="4565104"/>
          </a:xfrm>
          <a:prstGeom prst="rect">
            <a:avLst/>
          </a:prstGeom>
        </p:spPr>
        <p:txBody>
          <a:bodyPr>
            <a:normAutofit fontScale="40000" lnSpcReduction="2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9000" kern="0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roposal for UN-R 10, 08 Series of amendments:</a:t>
            </a:r>
          </a:p>
          <a:p>
            <a:br>
              <a:rPr lang="en-US" sz="4900" kern="0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br>
            <a:br>
              <a:rPr lang="en-US" sz="4900" kern="0" dirty="0"/>
            </a:br>
            <a:endParaRPr lang="en-US" sz="4900" kern="0" dirty="0"/>
          </a:p>
          <a:p>
            <a:r>
              <a:rPr lang="en-US" sz="12000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cision of harmonics and flicker requirements</a:t>
            </a:r>
          </a:p>
          <a:p>
            <a:endParaRPr lang="en-US" sz="4000" kern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4000" kern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persedes: IWG-EMC-47-04 (OICA) Precision of charging condition and flicker requirements</a:t>
            </a:r>
          </a:p>
          <a:p>
            <a:endParaRPr lang="en-US" sz="4000" kern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4000" kern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4000" kern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4000" kern="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4000" kern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ch 2026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543FB52-4A07-AF3B-EA91-A8EDBC2C8841}"/>
              </a:ext>
            </a:extLst>
          </p:cNvPr>
          <p:cNvSpPr txBox="1"/>
          <p:nvPr/>
        </p:nvSpPr>
        <p:spPr>
          <a:xfrm>
            <a:off x="9810504" y="221889"/>
            <a:ext cx="17281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algn="r"/>
            <a:r>
              <a:rPr lang="en-GB" sz="800" dirty="0">
                <a:ln>
                  <a:solidFill>
                    <a:srgbClr val="000000">
                      <a:alpha val="0"/>
                    </a:srgbClr>
                  </a:solidFill>
                </a:ln>
                <a:latin typeface="현대하모니 M" panose="02020603020101020101" pitchFamily="18" charset="-127"/>
                <a:ea typeface="현대하모니 M" panose="02020603020101020101" pitchFamily="18" charset="-127"/>
              </a:rPr>
              <a:t>IWG-EMC-51-04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B5DDB1-3467-85F1-E169-17236F6F0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A8C1177-4C69-74CA-6CB0-304E9A6C8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5D464-134C-4C80-B41F-7081051DEBC1}" type="slidenum">
              <a:rPr lang="ja-JP" altLang="fr-FR" smtClean="0"/>
              <a:pPr/>
              <a:t>2</a:t>
            </a:fld>
            <a:endParaRPr lang="fr-FR" altLang="ja-JP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F181B3BD-A8A7-9DF7-E821-99ABCD49EE19}"/>
              </a:ext>
            </a:extLst>
          </p:cNvPr>
          <p:cNvSpPr txBox="1">
            <a:spLocks/>
          </p:cNvSpPr>
          <p:nvPr/>
        </p:nvSpPr>
        <p:spPr>
          <a:xfrm>
            <a:off x="911424" y="1772816"/>
            <a:ext cx="10081120" cy="3840564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−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20000"/>
              </a:lnSpc>
              <a:buNone/>
            </a:pPr>
            <a:r>
              <a:rPr lang="en-US" sz="1800" b="1" kern="0" dirty="0"/>
              <a:t>OICA proposes simplifications and clarifications of the measurement methods defined for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800" kern="0" dirty="0"/>
              <a:t>Harmonics requirements as given by the standards IEC 61000-3-2 and IEC 61000-3-12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800" kern="0" dirty="0"/>
              <a:t>Voltage changes, fluctuations and flicker requirement as given by the standards IEC 61000-3-3 and IEC 61000-3-11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800" kern="0" dirty="0"/>
          </a:p>
          <a:p>
            <a:pPr marL="0" indent="0">
              <a:buNone/>
            </a:pPr>
            <a:r>
              <a:rPr lang="en-US" sz="1800" b="1" kern="0" dirty="0"/>
              <a:t>Benefits of the propos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0" dirty="0"/>
              <a:t>Reduction of measurement time, but still covering the technical sco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0" dirty="0"/>
              <a:t>Ensuring the measurements will be consistent between lab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0" dirty="0"/>
              <a:t>Simplification of setup makes it possible to perform measurements in a regular test site</a:t>
            </a:r>
          </a:p>
          <a:p>
            <a:pPr marL="425740" lvl="1">
              <a:buFont typeface="Symbol" panose="05050102010706020507" pitchFamily="18" charset="2"/>
              <a:buChar char="-"/>
            </a:pPr>
            <a:r>
              <a:rPr lang="en-US" sz="1800" kern="0" dirty="0"/>
              <a:t>Optional ground plane</a:t>
            </a:r>
          </a:p>
          <a:p>
            <a:pPr marL="425740" lvl="1">
              <a:buFont typeface="Symbol" panose="05050102010706020507" pitchFamily="18" charset="2"/>
              <a:buChar char="-"/>
            </a:pPr>
            <a:r>
              <a:rPr lang="en-US" sz="1800" kern="0" dirty="0"/>
              <a:t>Shielded chambers do not need to be occupied for these tests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800" kern="0" dirty="0"/>
          </a:p>
          <a:p>
            <a:endParaRPr lang="LID4096" sz="1800" kern="0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84C288D-DFEC-3F66-3C10-182D4777ED8D}"/>
              </a:ext>
            </a:extLst>
          </p:cNvPr>
          <p:cNvSpPr txBox="1">
            <a:spLocks/>
          </p:cNvSpPr>
          <p:nvPr/>
        </p:nvSpPr>
        <p:spPr>
          <a:xfrm>
            <a:off x="2243702" y="4869160"/>
            <a:ext cx="4518438" cy="3840564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−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LID4096" sz="1800" kern="0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6FE851C8-0E76-C4F8-EACB-18D5A25FEEAC}"/>
              </a:ext>
            </a:extLst>
          </p:cNvPr>
          <p:cNvSpPr txBox="1"/>
          <p:nvPr/>
        </p:nvSpPr>
        <p:spPr>
          <a:xfrm>
            <a:off x="9810504" y="221889"/>
            <a:ext cx="17281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algn="r"/>
            <a:r>
              <a:rPr lang="en-GB" sz="800" dirty="0">
                <a:ln>
                  <a:solidFill>
                    <a:srgbClr val="000000">
                      <a:alpha val="0"/>
                    </a:srgbClr>
                  </a:solidFill>
                </a:ln>
                <a:latin typeface="현대하모니 M" panose="02020603020101020101" pitchFamily="18" charset="-127"/>
                <a:ea typeface="현대하모니 M" panose="02020603020101020101" pitchFamily="18" charset="-127"/>
              </a:rPr>
              <a:t>IWG-EMC-51-04</a:t>
            </a:r>
          </a:p>
        </p:txBody>
      </p:sp>
    </p:spTree>
    <p:extLst>
      <p:ext uri="{BB962C8B-B14F-4D97-AF65-F5344CB8AC3E}">
        <p14:creationId xmlns:p14="http://schemas.microsoft.com/office/powerpoint/2010/main" val="1428005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BA98C8E-9F64-6C70-DA82-9D71CF5A1A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4000" dirty="0" err="1"/>
              <a:t>Harmonics</a:t>
            </a:r>
            <a:endParaRPr lang="de-DE" sz="4000" dirty="0"/>
          </a:p>
          <a:p>
            <a:r>
              <a:rPr lang="de-DE" sz="1600" dirty="0"/>
              <a:t>Vehicle 7.3. (Annex 11)</a:t>
            </a:r>
          </a:p>
          <a:p>
            <a:r>
              <a:rPr lang="de-DE" sz="1600" dirty="0"/>
              <a:t>ESA 7.11. (Annex 17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A6ED3C5-4BE8-3ABB-EC64-7F0902272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7F56F4-53F4-4744-8FEF-840AE151320B}" type="slidenum">
              <a:rPr lang="ja-JP" altLang="fr-FR" smtClean="0"/>
              <a:pPr/>
              <a:t>3</a:t>
            </a:fld>
            <a:endParaRPr lang="fr-FR" altLang="ja-JP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66CAAFCB-25F6-DA3C-8BED-A3C76F0FDB00}"/>
              </a:ext>
            </a:extLst>
          </p:cNvPr>
          <p:cNvSpPr txBox="1"/>
          <p:nvPr/>
        </p:nvSpPr>
        <p:spPr>
          <a:xfrm>
            <a:off x="9810504" y="221889"/>
            <a:ext cx="17281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algn="r"/>
            <a:r>
              <a:rPr lang="en-GB" sz="800" dirty="0">
                <a:ln>
                  <a:solidFill>
                    <a:srgbClr val="000000">
                      <a:alpha val="0"/>
                    </a:srgbClr>
                  </a:solidFill>
                </a:ln>
                <a:latin typeface="현대하모니 M" panose="02020603020101020101" pitchFamily="18" charset="-127"/>
                <a:ea typeface="현대하모니 M" panose="02020603020101020101" pitchFamily="18" charset="-127"/>
              </a:rPr>
              <a:t>IWG-EMC-51-04</a:t>
            </a:r>
          </a:p>
        </p:txBody>
      </p:sp>
    </p:spTree>
    <p:extLst>
      <p:ext uri="{BB962C8B-B14F-4D97-AF65-F5344CB8AC3E}">
        <p14:creationId xmlns:p14="http://schemas.microsoft.com/office/powerpoint/2010/main" val="20767746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787D8A-884F-49E9-6F77-D6D51FC83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cision of harmonics requirement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4BF15A9-03BD-6497-1A55-6DCB249A91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5D464-134C-4C80-B41F-7081051DEBC1}" type="slidenum">
              <a:rPr lang="ja-JP" altLang="fr-FR" smtClean="0"/>
              <a:pPr/>
              <a:t>4</a:t>
            </a:fld>
            <a:endParaRPr lang="fr-FR" altLang="ja-JP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A1311C69-7147-858E-69F9-64E4F9A8B973}"/>
              </a:ext>
            </a:extLst>
          </p:cNvPr>
          <p:cNvSpPr txBox="1">
            <a:spLocks/>
          </p:cNvSpPr>
          <p:nvPr/>
        </p:nvSpPr>
        <p:spPr>
          <a:xfrm>
            <a:off x="476652" y="1484784"/>
            <a:ext cx="11095496" cy="488424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−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20000"/>
              </a:lnSpc>
            </a:pPr>
            <a:r>
              <a:rPr lang="en-US" sz="1600" kern="0" dirty="0"/>
              <a:t>The objective of the requirements is to limit harmonic current injected to the public power mains grid in order to:</a:t>
            </a:r>
          </a:p>
          <a:p>
            <a:pPr marL="571500" lvl="1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200" kern="0" dirty="0"/>
              <a:t>reduce thermal aging of transformers and power lines, in particular the neutral conductor, and</a:t>
            </a:r>
          </a:p>
          <a:p>
            <a:pPr marL="571500" lvl="1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200" kern="0" dirty="0"/>
              <a:t>minimize interference with low‑frequency power line communication systems.</a:t>
            </a:r>
          </a:p>
          <a:p>
            <a:pPr>
              <a:lnSpc>
                <a:spcPct val="120000"/>
              </a:lnSpc>
            </a:pPr>
            <a:r>
              <a:rPr lang="en-US" sz="1600" kern="0" dirty="0"/>
              <a:t>The measurement is performed over the frequency range from 50 Hz to 2000 Hz as a differential measurement on each phase.</a:t>
            </a:r>
          </a:p>
          <a:p>
            <a:pPr>
              <a:lnSpc>
                <a:spcPct val="120000"/>
              </a:lnSpc>
            </a:pPr>
            <a:r>
              <a:rPr lang="en-US" sz="1600" kern="0" dirty="0"/>
              <a:t>Since the measurement is </a:t>
            </a:r>
            <a:r>
              <a:rPr lang="en-US" sz="1600" b="1" kern="0" dirty="0"/>
              <a:t>purely differential and does not use a ground reference</a:t>
            </a:r>
            <a:r>
              <a:rPr lang="en-US" sz="1600" kern="0" dirty="0"/>
              <a:t>, neither a Protective Earth (PE) nor a Ground Reference Plane (GRP) is required or specified in the basic measurement standard IEC 61000‑3‑2.</a:t>
            </a:r>
          </a:p>
          <a:p>
            <a:pPr>
              <a:lnSpc>
                <a:spcPct val="120000"/>
              </a:lnSpc>
            </a:pPr>
            <a:r>
              <a:rPr lang="en-US" sz="1600" kern="0" dirty="0"/>
              <a:t>Furthermore, the basic</a:t>
            </a:r>
            <a:r>
              <a:rPr lang="en-US" sz="1600" b="1" kern="0" dirty="0"/>
              <a:t> measurement standard does not define a well‑specified measurement time </a:t>
            </a:r>
            <a:r>
              <a:rPr lang="en-US" sz="1600" kern="0" dirty="0"/>
              <a:t>that can be directly applied to vehicles; this aspect should be clarified.</a:t>
            </a:r>
          </a:p>
          <a:p>
            <a:endParaRPr lang="en-US" sz="1600" kern="0" dirty="0">
              <a:highlight>
                <a:srgbClr val="FFFF00"/>
              </a:highlight>
            </a:endParaRPr>
          </a:p>
          <a:p>
            <a:r>
              <a:rPr lang="en-US" sz="1600" b="1" dirty="0"/>
              <a:t>Proposal overview:</a:t>
            </a:r>
          </a:p>
          <a:p>
            <a:pPr lvl="1"/>
            <a:r>
              <a:rPr lang="en-US" sz="1600" dirty="0"/>
              <a:t>Clarify that the ground plane is optional, not required. </a:t>
            </a:r>
          </a:p>
          <a:p>
            <a:pPr lvl="1"/>
            <a:r>
              <a:rPr lang="en-US" sz="1600" dirty="0"/>
              <a:t>Specify 10 minutes measurement time. Alignment with the proposed flicker observation time reduces testing complexity.</a:t>
            </a:r>
            <a:endParaRPr lang="LID4096" sz="1600" dirty="0"/>
          </a:p>
          <a:p>
            <a:pPr>
              <a:lnSpc>
                <a:spcPct val="120000"/>
              </a:lnSpc>
            </a:pPr>
            <a:endParaRPr lang="en-US" sz="1600" kern="0" dirty="0">
              <a:highlight>
                <a:srgbClr val="FFFF00"/>
              </a:highlight>
            </a:endParaRPr>
          </a:p>
          <a:p>
            <a:endParaRPr lang="LID4096" sz="1600" kern="0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699E34D-D90B-8AFF-B77D-FF0AEEDBDFAD}"/>
              </a:ext>
            </a:extLst>
          </p:cNvPr>
          <p:cNvSpPr txBox="1">
            <a:spLocks/>
          </p:cNvSpPr>
          <p:nvPr/>
        </p:nvSpPr>
        <p:spPr>
          <a:xfrm>
            <a:off x="7088921" y="4293096"/>
            <a:ext cx="4518438" cy="3840564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−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LID4096" sz="1600" kern="0" dirty="0">
              <a:highlight>
                <a:srgbClr val="FFFF00"/>
              </a:highlight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6CE88D83-4F69-208F-5BB0-907AEE11CE53}"/>
              </a:ext>
            </a:extLst>
          </p:cNvPr>
          <p:cNvSpPr txBox="1"/>
          <p:nvPr/>
        </p:nvSpPr>
        <p:spPr>
          <a:xfrm>
            <a:off x="9810504" y="221889"/>
            <a:ext cx="17281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algn="r"/>
            <a:r>
              <a:rPr lang="en-GB" sz="800" dirty="0">
                <a:ln>
                  <a:solidFill>
                    <a:srgbClr val="000000">
                      <a:alpha val="0"/>
                    </a:srgbClr>
                  </a:solidFill>
                </a:ln>
                <a:latin typeface="현대하모니 M" panose="02020603020101020101" pitchFamily="18" charset="-127"/>
                <a:ea typeface="현대하모니 M" panose="02020603020101020101" pitchFamily="18" charset="-127"/>
              </a:rPr>
              <a:t>IWG-EMC-51-04</a:t>
            </a:r>
          </a:p>
        </p:txBody>
      </p:sp>
    </p:spTree>
    <p:extLst>
      <p:ext uri="{BB962C8B-B14F-4D97-AF65-F5344CB8AC3E}">
        <p14:creationId xmlns:p14="http://schemas.microsoft.com/office/powerpoint/2010/main" val="39460075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9FBA6F-3DFF-A8A3-0B90-6182C98193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964F4E8-0219-9408-7926-92440A0112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4000" dirty="0"/>
              <a:t>Flicker</a:t>
            </a:r>
          </a:p>
          <a:p>
            <a:r>
              <a:rPr lang="de-DE" sz="1600" dirty="0"/>
              <a:t>Vehicle 7.4. (Annex 12)</a:t>
            </a:r>
          </a:p>
          <a:p>
            <a:r>
              <a:rPr lang="de-DE" sz="1600" dirty="0"/>
              <a:t>ESA 7.12. (Annex 18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40C6765-106F-5FB0-F0BA-4F6C5D487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7F56F4-53F4-4744-8FEF-840AE151320B}" type="slidenum">
              <a:rPr lang="ja-JP" altLang="fr-FR" smtClean="0"/>
              <a:pPr/>
              <a:t>5</a:t>
            </a:fld>
            <a:endParaRPr lang="fr-FR" altLang="ja-JP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E34A6DE9-C0AC-A0A7-9FE9-014C9D5BEE89}"/>
              </a:ext>
            </a:extLst>
          </p:cNvPr>
          <p:cNvSpPr txBox="1"/>
          <p:nvPr/>
        </p:nvSpPr>
        <p:spPr>
          <a:xfrm>
            <a:off x="9810504" y="221889"/>
            <a:ext cx="17281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algn="r"/>
            <a:r>
              <a:rPr lang="en-GB" sz="800" dirty="0">
                <a:ln>
                  <a:solidFill>
                    <a:srgbClr val="000000">
                      <a:alpha val="0"/>
                    </a:srgbClr>
                  </a:solidFill>
                </a:ln>
                <a:latin typeface="현대하모니 M" panose="02020603020101020101" pitchFamily="18" charset="-127"/>
                <a:ea typeface="현대하모니 M" panose="02020603020101020101" pitchFamily="18" charset="-127"/>
              </a:rPr>
              <a:t>IWG-EMC-51-04</a:t>
            </a:r>
          </a:p>
        </p:txBody>
      </p:sp>
    </p:spTree>
    <p:extLst>
      <p:ext uri="{BB962C8B-B14F-4D97-AF65-F5344CB8AC3E}">
        <p14:creationId xmlns:p14="http://schemas.microsoft.com/office/powerpoint/2010/main" val="28342160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703DF0-0654-530C-D0D5-0B099507B6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A5D482-C86F-C1CB-2357-13AC6E2A6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cision of flicker requirement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3774C4A-E8AB-A216-22AE-DE6A367BE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5D464-134C-4C80-B41F-7081051DEBC1}" type="slidenum">
              <a:rPr lang="ja-JP" altLang="fr-FR" smtClean="0"/>
              <a:pPr/>
              <a:t>6</a:t>
            </a:fld>
            <a:endParaRPr lang="fr-FR" altLang="ja-JP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67B97F10-493B-1AD8-DB27-18A308C1E5F0}"/>
              </a:ext>
            </a:extLst>
          </p:cNvPr>
          <p:cNvSpPr txBox="1">
            <a:spLocks/>
          </p:cNvSpPr>
          <p:nvPr/>
        </p:nvSpPr>
        <p:spPr>
          <a:xfrm>
            <a:off x="476652" y="1196752"/>
            <a:ext cx="11095496" cy="5172278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−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20000"/>
              </a:lnSpc>
            </a:pPr>
            <a:r>
              <a:rPr lang="en-US" sz="1600" kern="0" dirty="0"/>
              <a:t>The objective of the requirements is to limit voltage fluctuations and flicker affecting the power mains grid, in order to</a:t>
            </a:r>
          </a:p>
          <a:p>
            <a:pPr marL="571500" lvl="1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200" kern="0" dirty="0"/>
              <a:t>limit flickering in lighting equipment, and</a:t>
            </a:r>
          </a:p>
          <a:p>
            <a:pPr marL="571500" lvl="1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200" kern="0" dirty="0"/>
              <a:t>stabilize the mains grid.</a:t>
            </a:r>
          </a:p>
          <a:p>
            <a:pPr>
              <a:lnSpc>
                <a:spcPct val="120000"/>
              </a:lnSpc>
            </a:pPr>
            <a:r>
              <a:rPr lang="en-US" sz="1600" kern="0" dirty="0"/>
              <a:t>The measurement is performed as a differential measurement on each phase relative to neutral (N). The monitored phenomena have a low frequency character (typically &lt; 10 kHz).</a:t>
            </a:r>
          </a:p>
          <a:p>
            <a:pPr>
              <a:lnSpc>
                <a:spcPct val="120000"/>
              </a:lnSpc>
            </a:pPr>
            <a:r>
              <a:rPr lang="en-US" sz="1600" kern="0" dirty="0"/>
              <a:t>Since the measurement is </a:t>
            </a:r>
            <a:r>
              <a:rPr lang="en-US" sz="1600" b="1" kern="0" dirty="0"/>
              <a:t>purely differential and does not use a ground reference</a:t>
            </a:r>
            <a:r>
              <a:rPr lang="en-US" sz="1600" kern="0" dirty="0"/>
              <a:t>, neither a Protective Earth (PE) nor a Ground Reference Plane (GRP) is required or specified in the basic measurement standard IEC 61000‑3‑3.</a:t>
            </a:r>
          </a:p>
          <a:p>
            <a:pPr>
              <a:lnSpc>
                <a:spcPct val="120000"/>
              </a:lnSpc>
            </a:pPr>
            <a:r>
              <a:rPr lang="en-US" sz="1600" b="1" kern="0" dirty="0"/>
              <a:t>Application of IEC-Standard: </a:t>
            </a:r>
            <a:r>
              <a:rPr lang="en-US" sz="1600" kern="0" dirty="0"/>
              <a:t>Annex A of IEC 61000-3-3 contains product specific instructions on limit application – but not for vehicles.</a:t>
            </a:r>
          </a:p>
          <a:p>
            <a:pPr marL="0" indent="0">
              <a:buNone/>
            </a:pPr>
            <a:endParaRPr lang="en-US" sz="1600" kern="0" dirty="0">
              <a:highlight>
                <a:srgbClr val="FFFF00"/>
              </a:highlight>
            </a:endParaRPr>
          </a:p>
          <a:p>
            <a:r>
              <a:rPr lang="en-US" sz="1600" b="1" dirty="0"/>
              <a:t>Proposal overview:</a:t>
            </a:r>
          </a:p>
          <a:p>
            <a:pPr lvl="1"/>
            <a:r>
              <a:rPr lang="en-US" sz="1600" dirty="0"/>
              <a:t>Clarify that the ground plane is optional, not required</a:t>
            </a:r>
          </a:p>
          <a:p>
            <a:pPr lvl="1"/>
            <a:r>
              <a:rPr lang="en-US" sz="1600" dirty="0"/>
              <a:t>Maintain cable length restriction</a:t>
            </a:r>
          </a:p>
          <a:p>
            <a:pPr lvl="1"/>
            <a:r>
              <a:rPr lang="en-US" sz="1600" dirty="0"/>
              <a:t>Specify test conditions for vehicles in alignment with Annex A of IEC 61000-3-3: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en-US" sz="1200" dirty="0"/>
              <a:t>Measurement time (observation time) shall be 10 minutes. </a:t>
            </a:r>
            <a:r>
              <a:rPr lang="en-US" sz="1200" kern="0" dirty="0"/>
              <a:t>The measurement (observation) time shall be 10 minutes. This duration aligns with the default </a:t>
            </a:r>
            <a:r>
              <a:rPr lang="en-US" sz="1200" kern="0" dirty="0" err="1"/>
              <a:t>P</a:t>
            </a:r>
            <a:r>
              <a:rPr lang="en-US" sz="1200" kern="0" baseline="-25000" dirty="0" err="1"/>
              <a:t>st</a:t>
            </a:r>
            <a:r>
              <a:rPr lang="en-US" sz="1200" kern="0" dirty="0"/>
              <a:t> measurement setting, is consistent with the proposed harmonics requirements, and reduces overall test complexity.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en-US" sz="1200" dirty="0"/>
              <a:t>Suppress the </a:t>
            </a:r>
            <a:r>
              <a:rPr lang="en-US" sz="1200" dirty="0" err="1"/>
              <a:t>P</a:t>
            </a:r>
            <a:r>
              <a:rPr lang="en-US" sz="1200" baseline="-25000" dirty="0" err="1"/>
              <a:t>lt</a:t>
            </a:r>
            <a:r>
              <a:rPr lang="en-US" sz="1200" dirty="0"/>
              <a:t> requirement.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en-US" sz="1200" dirty="0"/>
              <a:t>Clarify that manual switching test are not required.</a:t>
            </a:r>
          </a:p>
          <a:p>
            <a:pPr lvl="1"/>
            <a:endParaRPr lang="en-US" sz="1600" dirty="0"/>
          </a:p>
          <a:p>
            <a:pPr>
              <a:lnSpc>
                <a:spcPct val="120000"/>
              </a:lnSpc>
            </a:pPr>
            <a:endParaRPr lang="en-US" sz="1600" kern="0" dirty="0">
              <a:highlight>
                <a:srgbClr val="FFFF00"/>
              </a:highlight>
            </a:endParaRPr>
          </a:p>
          <a:p>
            <a:endParaRPr lang="LID4096" sz="1600" kern="0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D83DFF0-CBA4-E80A-855D-5407605DFB23}"/>
              </a:ext>
            </a:extLst>
          </p:cNvPr>
          <p:cNvSpPr txBox="1">
            <a:spLocks/>
          </p:cNvSpPr>
          <p:nvPr/>
        </p:nvSpPr>
        <p:spPr>
          <a:xfrm>
            <a:off x="7088921" y="4293096"/>
            <a:ext cx="4518438" cy="3840564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−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LID4096" sz="1600" kern="0" dirty="0">
              <a:highlight>
                <a:srgbClr val="FFFF00"/>
              </a:highlight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76A90493-25B0-DC2D-F167-918CBBC6A8F5}"/>
              </a:ext>
            </a:extLst>
          </p:cNvPr>
          <p:cNvSpPr txBox="1"/>
          <p:nvPr/>
        </p:nvSpPr>
        <p:spPr>
          <a:xfrm>
            <a:off x="9810504" y="221889"/>
            <a:ext cx="17281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algn="r"/>
            <a:r>
              <a:rPr lang="en-GB" sz="800" dirty="0">
                <a:ln>
                  <a:solidFill>
                    <a:srgbClr val="000000">
                      <a:alpha val="0"/>
                    </a:srgbClr>
                  </a:solidFill>
                </a:ln>
                <a:latin typeface="현대하모니 M" panose="02020603020101020101" pitchFamily="18" charset="-127"/>
                <a:ea typeface="현대하모니 M" panose="02020603020101020101" pitchFamily="18" charset="-127"/>
              </a:rPr>
              <a:t>IWG-EMC-51-04</a:t>
            </a:r>
          </a:p>
        </p:txBody>
      </p:sp>
    </p:spTree>
    <p:extLst>
      <p:ext uri="{BB962C8B-B14F-4D97-AF65-F5344CB8AC3E}">
        <p14:creationId xmlns:p14="http://schemas.microsoft.com/office/powerpoint/2010/main" val="10200835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6B5B54-D290-50C7-6872-C495A93505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icker requirements for other devices</a:t>
            </a:r>
            <a:br>
              <a:rPr lang="en-US" dirty="0"/>
            </a:b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C93CAB8-85B1-B693-391E-408630810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C2F580-C48E-4C14-8111-BE255E1134ED}" type="slidenum">
              <a:rPr lang="ja-JP" altLang="fr-FR" smtClean="0"/>
              <a:pPr/>
              <a:t>7</a:t>
            </a:fld>
            <a:endParaRPr lang="fr-FR" altLang="ja-JP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6FFF8322-0F11-6114-E5DA-461CE2E1E0C4}"/>
              </a:ext>
            </a:extLst>
          </p:cNvPr>
          <p:cNvSpPr txBox="1">
            <a:spLocks/>
          </p:cNvSpPr>
          <p:nvPr/>
        </p:nvSpPr>
        <p:spPr>
          <a:xfrm>
            <a:off x="838200" y="216685"/>
            <a:ext cx="10515600" cy="643060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kern="0" dirty="0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A483E604-6C3F-7F83-95CD-5031490899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6139328"/>
              </p:ext>
            </p:extLst>
          </p:nvPr>
        </p:nvGraphicFramePr>
        <p:xfrm>
          <a:off x="6291027" y="1768768"/>
          <a:ext cx="3881860" cy="347472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01860">
                  <a:extLst>
                    <a:ext uri="{9D8B030D-6E8A-4147-A177-3AD203B41FA5}">
                      <a16:colId xmlns:a16="http://schemas.microsoft.com/office/drawing/2014/main" val="1814018314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921289224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51966199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P</a:t>
                      </a:r>
                      <a:r>
                        <a:rPr lang="de-DE" sz="1400" baseline="-25000" dirty="0"/>
                        <a:t>st</a:t>
                      </a:r>
                      <a:endParaRPr lang="de-DE" sz="1400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err="1"/>
                        <a:t>P</a:t>
                      </a:r>
                      <a:r>
                        <a:rPr lang="de-DE" sz="1400" baseline="-25000" dirty="0" err="1"/>
                        <a:t>lt</a:t>
                      </a:r>
                      <a:endParaRPr lang="de-DE" sz="1400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1406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Hair dryers and hair care devic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de-DE" sz="14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27416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Multimedia equipment (without audio amplifiers)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de-DE" sz="1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de-DE" sz="14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0458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Flow through heater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de-DE" sz="14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32824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Audio amplifier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rgbClr val="FF0000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2249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Air condition devices and industrial cooling devic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rgbClr val="FF0000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3940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Welding equipmen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rgbClr val="FF0000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37106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Coffee and tea machin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de-DE" sz="14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75881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Portable heating devic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rgbClr val="FF0000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99145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Ventilator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rgbClr val="FF0000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8851283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94200FEE-24B5-2112-941B-E11F539CCBED}"/>
              </a:ext>
            </a:extLst>
          </p:cNvPr>
          <p:cNvSpPr txBox="1"/>
          <p:nvPr/>
        </p:nvSpPr>
        <p:spPr>
          <a:xfrm>
            <a:off x="1936006" y="1008186"/>
            <a:ext cx="72206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IEC 61000-3-3:2013 + A1:2017 + A2:2021 + A2:2021/COR1:2022  </a:t>
            </a:r>
            <a:r>
              <a:rPr lang="pt-BR" b="1" dirty="0"/>
              <a:t>Annex A</a:t>
            </a:r>
            <a:endParaRPr lang="de-DE" b="1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12E43B32-1AF1-9C0A-B256-79252F4E24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1342396"/>
              </p:ext>
            </p:extLst>
          </p:nvPr>
        </p:nvGraphicFramePr>
        <p:xfrm>
          <a:off x="1608135" y="1768768"/>
          <a:ext cx="3784883" cy="368808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704883">
                  <a:extLst>
                    <a:ext uri="{9D8B030D-6E8A-4147-A177-3AD203B41FA5}">
                      <a16:colId xmlns:a16="http://schemas.microsoft.com/office/drawing/2014/main" val="1814018314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921289224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51966199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P</a:t>
                      </a:r>
                      <a:r>
                        <a:rPr lang="de-DE" sz="1400" baseline="-25000" dirty="0"/>
                        <a:t>st</a:t>
                      </a:r>
                      <a:endParaRPr lang="de-DE" sz="1400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err="1"/>
                        <a:t>P</a:t>
                      </a:r>
                      <a:r>
                        <a:rPr lang="de-DE" sz="1400" baseline="-25000" dirty="0" err="1"/>
                        <a:t>lt</a:t>
                      </a:r>
                      <a:endParaRPr lang="de-DE" sz="1400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14062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Cooking devic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de-DE" sz="14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971367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Lighting equipment</a:t>
                      </a:r>
                    </a:p>
                    <a:p>
                      <a:r>
                        <a:rPr lang="en-US" sz="1100" noProof="0" dirty="0"/>
                        <a:t>(only if switching is expected, not single light sources)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rgbClr val="FF0000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009029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Washing machin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rgbClr val="FF0000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296416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Laundry dryer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rgbClr val="FF0000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01761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Cooling devic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de-DE" sz="1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de-DE" sz="14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74891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Copying machines, printer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rgbClr val="FF0000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45001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Vacuum cleaner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de-DE" sz="1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de-DE" sz="14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822476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Blender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de-DE" sz="1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de-DE" sz="14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472340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Tools without heating element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de-DE" sz="1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de-DE" sz="14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53342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Tools with heating element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de-DE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de-DE" sz="14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739804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24D832CE-2867-606A-3191-BF2B660CAF82}"/>
              </a:ext>
            </a:extLst>
          </p:cNvPr>
          <p:cNvSpPr txBox="1"/>
          <p:nvPr/>
        </p:nvSpPr>
        <p:spPr>
          <a:xfrm>
            <a:off x="2063552" y="5694938"/>
            <a:ext cx="759153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The voltage relative variation shall be measured in any case</a:t>
            </a:r>
            <a:r>
              <a:rPr lang="en-US" sz="1600" dirty="0"/>
              <a:t>.</a:t>
            </a:r>
            <a:endParaRPr lang="en-US" dirty="0"/>
          </a:p>
          <a:p>
            <a:pPr algn="ctr"/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 err="1"/>
              <a:t>P</a:t>
            </a:r>
            <a:r>
              <a:rPr lang="en-US" baseline="-25000" dirty="0" err="1"/>
              <a:t>lt</a:t>
            </a:r>
            <a:r>
              <a:rPr lang="en-US" dirty="0"/>
              <a:t> is only measured for devices with expected multiple switching action – no switching during charging of xEV expected.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E5C306E-30D0-F033-E1FC-D2F457E3F862}"/>
              </a:ext>
            </a:extLst>
          </p:cNvPr>
          <p:cNvSpPr txBox="1"/>
          <p:nvPr/>
        </p:nvSpPr>
        <p:spPr>
          <a:xfrm>
            <a:off x="9810504" y="221889"/>
            <a:ext cx="17281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algn="r"/>
            <a:r>
              <a:rPr lang="en-GB" sz="800" dirty="0">
                <a:ln>
                  <a:solidFill>
                    <a:srgbClr val="000000">
                      <a:alpha val="0"/>
                    </a:srgbClr>
                  </a:solidFill>
                </a:ln>
                <a:latin typeface="현대하모니 M" panose="02020603020101020101" pitchFamily="18" charset="-127"/>
                <a:ea typeface="현대하모니 M" panose="02020603020101020101" pitchFamily="18" charset="-127"/>
              </a:rPr>
              <a:t>IWG-EMC-51-04</a:t>
            </a:r>
          </a:p>
        </p:txBody>
      </p:sp>
    </p:spTree>
    <p:extLst>
      <p:ext uri="{BB962C8B-B14F-4D97-AF65-F5344CB8AC3E}">
        <p14:creationId xmlns:p14="http://schemas.microsoft.com/office/powerpoint/2010/main" val="3559399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que présentation OICA">
  <a:themeElements>
    <a:clrScheme name="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sque présentation avec nouveau logo et format 16x9" id="{85D48C29-F5D1-45D1-86B0-358C96AA2DC8}" vid="{438186FC-A8D2-4D68-B072-911AEBB13642}"/>
    </a:ext>
  </a:ext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3B64F82E7098488BA699CD80F6C817" ma:contentTypeVersion="12" ma:contentTypeDescription="Create a new document." ma:contentTypeScope="" ma:versionID="277ebf662d848dea0c34255404869c57">
  <xsd:schema xmlns:xsd="http://www.w3.org/2001/XMLSchema" xmlns:xs="http://www.w3.org/2001/XMLSchema" xmlns:p="http://schemas.microsoft.com/office/2006/metadata/properties" xmlns:ns2="beab5909-2256-4ef5-9bfe-179cc9eb78a8" xmlns:ns3="a2803eea-376f-4b0d-b851-13f11d2e39ae" targetNamespace="http://schemas.microsoft.com/office/2006/metadata/properties" ma:root="true" ma:fieldsID="1898f4346036b0565a083ebaf0c905c5" ns2:_="" ns3:_="">
    <xsd:import namespace="beab5909-2256-4ef5-9bfe-179cc9eb78a8"/>
    <xsd:import namespace="a2803eea-376f-4b0d-b851-13f11d2e39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ab5909-2256-4ef5-9bfe-179cc9eb78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803eea-376f-4b0d-b851-13f11d2e39a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BB8778E-8A64-41F0-9713-4F9DA0D2539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C7098E4-0E61-454C-A497-6FC478BF5B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eab5909-2256-4ef5-9bfe-179cc9eb78a8"/>
    <ds:schemaRef ds:uri="a2803eea-376f-4b0d-b851-13f11d2e39a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839304F-0938-43E6-8879-656B93E44B20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beab5909-2256-4ef5-9bfe-179cc9eb78a8"/>
    <ds:schemaRef ds:uri="http://schemas.microsoft.com/office/2006/documentManagement/types"/>
    <ds:schemaRef ds:uri="http://purl.org/dc/terms/"/>
    <ds:schemaRef ds:uri="a2803eea-376f-4b0d-b851-13f11d2e39ae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c2601314-b878-4900-a263-6d04f23371fa}" enabled="1" method="Privileged" siteId="{ce849bab-cc1c-465b-b62e-18f07c9ac19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Masque présentation avec nouveau logo et format 16x9</Template>
  <TotalTime>0</TotalTime>
  <Words>729</Words>
  <Application>Microsoft Office PowerPoint</Application>
  <PresentationFormat>Grand écran</PresentationFormat>
  <Paragraphs>138</Paragraphs>
  <Slides>7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17" baseType="lpstr">
      <vt:lpstr>Arial</vt:lpstr>
      <vt:lpstr>Calibri</vt:lpstr>
      <vt:lpstr>Calibri Light</vt:lpstr>
      <vt:lpstr>Courier New</vt:lpstr>
      <vt:lpstr>현대하모니 M</vt:lpstr>
      <vt:lpstr>Imago Pro Light</vt:lpstr>
      <vt:lpstr>Symbol</vt:lpstr>
      <vt:lpstr>Wingdings</vt:lpstr>
      <vt:lpstr>Masque présentation OICA</vt:lpstr>
      <vt:lpstr>think-cell Folie</vt:lpstr>
      <vt:lpstr>Présentation PowerPoint</vt:lpstr>
      <vt:lpstr>Introduction</vt:lpstr>
      <vt:lpstr>Présentation PowerPoint</vt:lpstr>
      <vt:lpstr>Precision of harmonics requirements</vt:lpstr>
      <vt:lpstr>Présentation PowerPoint</vt:lpstr>
      <vt:lpstr>Precision of flicker requirements</vt:lpstr>
      <vt:lpstr>Flicker requirements for other device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ECE R10 Liaison Report</dc:title>
  <dc:creator>Gierstorfer</dc:creator>
  <cp:lastModifiedBy>PRIGENT Jean-Marc</cp:lastModifiedBy>
  <cp:revision>87</cp:revision>
  <dcterms:created xsi:type="dcterms:W3CDTF">2022-01-18T14:42:26Z</dcterms:created>
  <dcterms:modified xsi:type="dcterms:W3CDTF">2026-03-16T18:1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3B64F82E7098488BA699CD80F6C817</vt:lpwstr>
  </property>
  <property fmtid="{D5CDD505-2E9C-101B-9397-08002B2CF9AE}" pid="3" name="MSIP_Label_c2601314-b878-4900-a263-6d04f23371fa_Enabled">
    <vt:lpwstr>true</vt:lpwstr>
  </property>
  <property fmtid="{D5CDD505-2E9C-101B-9397-08002B2CF9AE}" pid="4" name="MSIP_Label_c2601314-b878-4900-a263-6d04f23371fa_SetDate">
    <vt:lpwstr>2025-05-20T10:34:38Z</vt:lpwstr>
  </property>
  <property fmtid="{D5CDD505-2E9C-101B-9397-08002B2CF9AE}" pid="5" name="MSIP_Label_c2601314-b878-4900-a263-6d04f23371fa_Method">
    <vt:lpwstr>Privileged</vt:lpwstr>
  </property>
  <property fmtid="{D5CDD505-2E9C-101B-9397-08002B2CF9AE}" pid="6" name="MSIP_Label_c2601314-b878-4900-a263-6d04f23371fa_Name">
    <vt:lpwstr>c2601314-b878-4900-a263-6d04f23371fa</vt:lpwstr>
  </property>
  <property fmtid="{D5CDD505-2E9C-101B-9397-08002B2CF9AE}" pid="7" name="MSIP_Label_c2601314-b878-4900-a263-6d04f23371fa_SiteId">
    <vt:lpwstr>ce849bab-cc1c-465b-b62e-18f07c9ac198</vt:lpwstr>
  </property>
  <property fmtid="{D5CDD505-2E9C-101B-9397-08002B2CF9AE}" pid="8" name="MSIP_Label_c2601314-b878-4900-a263-6d04f23371fa_ActionId">
    <vt:lpwstr>4c3db6ac-5c0c-4beb-909b-6d3d49b5627d</vt:lpwstr>
  </property>
  <property fmtid="{D5CDD505-2E9C-101B-9397-08002B2CF9AE}" pid="9" name="MSIP_Label_c2601314-b878-4900-a263-6d04f23371fa_ContentBits">
    <vt:lpwstr>0</vt:lpwstr>
  </property>
</Properties>
</file>